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57" r:id="rId2"/>
    <p:sldId id="266" r:id="rId3"/>
    <p:sldId id="265" r:id="rId4"/>
    <p:sldId id="261" r:id="rId5"/>
    <p:sldId id="262" r:id="rId6"/>
    <p:sldId id="263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99" autoAdjust="0"/>
    <p:restoredTop sz="94660"/>
  </p:normalViewPr>
  <p:slideViewPr>
    <p:cSldViewPr snapToGrid="0">
      <p:cViewPr varScale="1">
        <p:scale>
          <a:sx n="77" d="100"/>
          <a:sy n="77" d="100"/>
        </p:scale>
        <p:origin x="36" y="2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E0F78B-B40F-4A48-A907-36DF4776D46A}" type="datetimeFigureOut">
              <a:rPr lang="de-DE" smtClean="0"/>
              <a:t>08.11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C92DB5-4A68-474A-A3DE-EB10ACE18A0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4619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963160B9-7CF4-4148-A77B-7D85DA81A60F}" type="slidenum">
              <a:rPr lang="en-GB" altLang="de-DE"/>
              <a:pPr eaLnBrk="1" hangingPunct="1"/>
              <a:t>2</a:t>
            </a:fld>
            <a:endParaRPr lang="en-GB" altLang="de-DE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7188" y="708025"/>
            <a:ext cx="6146800" cy="3457575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68800"/>
            <a:ext cx="5029200" cy="4067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55777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963160B9-7CF4-4148-A77B-7D85DA81A60F}" type="slidenum">
              <a:rPr lang="en-GB" altLang="de-DE"/>
              <a:pPr eaLnBrk="1" hangingPunct="1"/>
              <a:t>3</a:t>
            </a:fld>
            <a:endParaRPr lang="en-GB" altLang="de-DE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7188" y="708025"/>
            <a:ext cx="6146800" cy="3457575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68800"/>
            <a:ext cx="5029200" cy="4067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66581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963160B9-7CF4-4148-A77B-7D85DA81A60F}" type="slidenum">
              <a:rPr lang="en-GB" altLang="de-DE"/>
              <a:pPr eaLnBrk="1" hangingPunct="1"/>
              <a:t>4</a:t>
            </a:fld>
            <a:endParaRPr lang="en-GB" altLang="de-DE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7188" y="708025"/>
            <a:ext cx="6146800" cy="3457575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68800"/>
            <a:ext cx="5029200" cy="4067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94380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963160B9-7CF4-4148-A77B-7D85DA81A60F}" type="slidenum">
              <a:rPr lang="en-GB" altLang="de-DE"/>
              <a:pPr eaLnBrk="1" hangingPunct="1"/>
              <a:t>5</a:t>
            </a:fld>
            <a:endParaRPr lang="en-GB" altLang="de-DE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7188" y="708025"/>
            <a:ext cx="6146800" cy="3457575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68800"/>
            <a:ext cx="5029200" cy="4067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82534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963160B9-7CF4-4148-A77B-7D85DA81A60F}" type="slidenum">
              <a:rPr lang="en-GB" altLang="de-DE"/>
              <a:pPr eaLnBrk="1" hangingPunct="1"/>
              <a:t>6</a:t>
            </a:fld>
            <a:endParaRPr lang="en-GB" altLang="de-DE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7188" y="708025"/>
            <a:ext cx="6146800" cy="3457575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68800"/>
            <a:ext cx="5029200" cy="406717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56242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g"/><Relationship Id="rId5" Type="http://schemas.openxmlformats.org/officeDocument/2006/relationships/tags" Target="../tags/tag5.xml"/><Relationship Id="rId10" Type="http://schemas.openxmlformats.org/officeDocument/2006/relationships/image" Target="../media/image1.jpg"/><Relationship Id="rId4" Type="http://schemas.openxmlformats.org/officeDocument/2006/relationships/tags" Target="../tags/tag4.xml"/><Relationship Id="rId9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08FE04-4A7B-4634-847E-A9A53287B9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4E80F12-35AA-4388-B142-0FE30C2040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45D6DE7-3F1C-4120-9390-7DF2938B6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E8FE5-5AD8-4BA0-807D-70B45C13D5E8}" type="datetimeFigureOut">
              <a:rPr lang="de-DE" smtClean="0"/>
              <a:t>08.11.2017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ECFB044-A643-4E87-B9DF-D66D83684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E4C6BC3-B29B-435C-AE89-DEABC31CA1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607A0-3BB0-4040-B86F-AAD7D609A42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44518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427432-FF7C-4DCF-978E-8C14380BE3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8EA154D-22C9-41C7-8B61-0DAB1AFAB21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2AB7ECD-151D-4B06-916B-6CC72D21E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E8FE5-5AD8-4BA0-807D-70B45C13D5E8}" type="datetimeFigureOut">
              <a:rPr lang="de-DE" smtClean="0"/>
              <a:t>08.11.2017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9F534E3-CD0A-47FB-8CB1-419ACAA0AB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67A6D76-AE9E-41CF-8C37-0DFD248566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607A0-3BB0-4040-B86F-AAD7D609A42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3488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EA79CB18-4707-45A0-A015-4B495A0D825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3590D68F-660C-4F8A-89F1-47F5D43C748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F990631-86AC-4B27-BCFA-7E0A2EC748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E8FE5-5AD8-4BA0-807D-70B45C13D5E8}" type="datetimeFigureOut">
              <a:rPr lang="de-DE" smtClean="0"/>
              <a:t>08.11.2017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00C0D10-4DA6-4A32-86DF-C4E5982AB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E98E06-6C3B-47D8-9CEE-67D6323373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607A0-3BB0-4040-B86F-AAD7D609A42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71624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F47CF6F4-2BD6-4A81-A238-D333A02B982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301" y="-2799"/>
            <a:ext cx="8350861" cy="5576749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FEAE0D61-A55C-412E-9EFB-B13DA8FEF26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5147" y="0"/>
            <a:ext cx="3866854" cy="5626912"/>
          </a:xfrm>
          <a:prstGeom prst="rect">
            <a:avLst/>
          </a:prstGeom>
        </p:spPr>
      </p:pic>
      <p:pic>
        <p:nvPicPr>
          <p:cNvPr id="41" name="Grafik 40" descr="PPT_KSB_130702_l.emf"/>
          <p:cNvPicPr>
            <a:picLocks noChangeAspect="1"/>
          </p:cNvPicPr>
          <p:nvPr userDrawn="1"/>
        </p:nvPicPr>
        <p:blipFill>
          <a:blip r:embed="rId12" cstate="print"/>
          <a:srcRect l="2165" t="59176" r="480" b="1076"/>
          <a:stretch>
            <a:fillRect/>
          </a:stretch>
        </p:blipFill>
        <p:spPr>
          <a:xfrm>
            <a:off x="-25302" y="4119685"/>
            <a:ext cx="12237701" cy="2777060"/>
          </a:xfrm>
          <a:prstGeom prst="rect">
            <a:avLst/>
          </a:prstGeom>
        </p:spPr>
      </p:pic>
      <p:grpSp>
        <p:nvGrpSpPr>
          <p:cNvPr id="2" name="Gruppieren 24"/>
          <p:cNvGrpSpPr/>
          <p:nvPr/>
        </p:nvGrpSpPr>
        <p:grpSpPr>
          <a:xfrm>
            <a:off x="7655888" y="469032"/>
            <a:ext cx="4270046" cy="6269447"/>
            <a:chOff x="6714852" y="411163"/>
            <a:chExt cx="3745186" cy="5495925"/>
          </a:xfrm>
        </p:grpSpPr>
        <p:sp>
          <p:nvSpPr>
            <p:cNvPr id="26" name="Line 41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729138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52" noProof="0"/>
            </a:p>
          </p:txBody>
        </p:sp>
        <p:sp>
          <p:nvSpPr>
            <p:cNvPr id="27" name="Line 42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flipV="1">
              <a:off x="10383838" y="411163"/>
              <a:ext cx="0" cy="549592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52" noProof="0"/>
            </a:p>
          </p:txBody>
        </p:sp>
        <p:sp>
          <p:nvSpPr>
            <p:cNvPr id="28" name="Line 43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 flipH="1">
              <a:off x="7177088" y="5830888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52" noProof="0"/>
            </a:p>
          </p:txBody>
        </p:sp>
        <p:sp>
          <p:nvSpPr>
            <p:cNvPr id="29" name="Line 44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7177088" y="557213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52" noProof="0"/>
            </a:p>
          </p:txBody>
        </p:sp>
        <p:sp>
          <p:nvSpPr>
            <p:cNvPr id="30" name="Line 45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7177088" y="2141835"/>
              <a:ext cx="328295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52" noProof="0"/>
            </a:p>
          </p:txBody>
        </p:sp>
        <p:sp>
          <p:nvSpPr>
            <p:cNvPr id="31" name="Line 46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 flipH="1">
              <a:off x="6714852" y="5372101"/>
              <a:ext cx="374518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52" noProof="0"/>
            </a:p>
          </p:txBody>
        </p:sp>
        <p:sp>
          <p:nvSpPr>
            <p:cNvPr id="32" name="Line 47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 flipV="1">
              <a:off x="7002463" y="4532313"/>
              <a:ext cx="0" cy="1374775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052" noProof="0"/>
            </a:p>
          </p:txBody>
        </p:sp>
      </p:grpSp>
      <p:sp>
        <p:nvSpPr>
          <p:cNvPr id="23" name="Untertitel 2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>
          <a:xfrm>
            <a:off x="595341" y="5157121"/>
            <a:ext cx="8948833" cy="315792"/>
          </a:xfrm>
        </p:spPr>
        <p:txBody>
          <a:bodyPr wrap="squar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228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521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7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87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/>
              <a:t>Changemanagement </a:t>
            </a:r>
            <a:r>
              <a:rPr lang="de-DE" noProof="0" dirty="0" err="1"/>
              <a:t>basics</a:t>
            </a:r>
            <a:r>
              <a:rPr lang="de-DE" noProof="0" dirty="0"/>
              <a:t> &amp; </a:t>
            </a:r>
            <a:r>
              <a:rPr lang="de-DE" noProof="0" dirty="0" err="1"/>
              <a:t>leadership</a:t>
            </a:r>
            <a:r>
              <a:rPr lang="de-DE" noProof="0" dirty="0"/>
              <a:t> </a:t>
            </a:r>
            <a:r>
              <a:rPr lang="de-DE" noProof="0" dirty="0" err="1"/>
              <a:t>challenge</a:t>
            </a:r>
            <a:endParaRPr lang="de-DE" noProof="0" dirty="0"/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11"/>
          </p:nvPr>
        </p:nvSpPr>
        <p:spPr>
          <a:xfrm>
            <a:off x="595483" y="6057569"/>
            <a:ext cx="8948691" cy="328570"/>
          </a:xfrm>
        </p:spPr>
        <p:txBody>
          <a:bodyPr/>
          <a:lstStyle>
            <a:lvl1pPr marL="0" marR="0" indent="0" algn="l" defTabSz="10425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912" baseline="0"/>
            </a:lvl1pPr>
            <a:lvl2pPr>
              <a:defRPr sz="912"/>
            </a:lvl2pPr>
            <a:lvl3pPr>
              <a:defRPr sz="912"/>
            </a:lvl3pPr>
            <a:lvl4pPr>
              <a:defRPr sz="912"/>
            </a:lvl4pPr>
            <a:lvl5pPr>
              <a:defRPr sz="912"/>
            </a:lvl5pPr>
          </a:lstStyle>
          <a:p>
            <a:pPr marL="0" marR="0" lvl="0" indent="0" algn="l" defTabSz="10425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de-DE" sz="912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10425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sz="912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07062015 – Wolfgang P. Schmitt</a:t>
            </a:r>
          </a:p>
        </p:txBody>
      </p:sp>
    </p:spTree>
    <p:extLst>
      <p:ext uri="{BB962C8B-B14F-4D97-AF65-F5344CB8AC3E}">
        <p14:creationId xmlns:p14="http://schemas.microsoft.com/office/powerpoint/2010/main" val="26490528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3974601-C9EB-4311-B0C7-F56456F766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D1D94B8-47FB-457A-BABE-997ADDE2A2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F9CEB9-0C70-43DE-B87B-F9F24BE955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E8FE5-5AD8-4BA0-807D-70B45C13D5E8}" type="datetimeFigureOut">
              <a:rPr lang="de-DE" smtClean="0"/>
              <a:t>08.11.2017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985DAF2-290F-4911-A06B-24144F41F7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F935524-27DA-4BF0-A199-E5E43960BC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607A0-3BB0-4040-B86F-AAD7D609A42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91023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30E969-3B64-4FFF-833C-836884F73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2854CDF-9CE3-49EA-A445-29B30558F9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E8BD03E-D4F2-4BD9-8F60-C5405DA288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E8FE5-5AD8-4BA0-807D-70B45C13D5E8}" type="datetimeFigureOut">
              <a:rPr lang="de-DE" smtClean="0"/>
              <a:t>08.11.2017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9BCC857-1597-4D96-BA09-F23477A062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0CFD5A-3789-4784-834F-50296444E1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607A0-3BB0-4040-B86F-AAD7D609A42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61999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A1FE83-FB72-40DB-8104-7000382F5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13A405-C5F9-45DC-9C93-39B5E22A24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AC676BC-4337-4636-9F0D-088D2BC7A2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2256134-4D54-4DFE-97B0-BB0EC0C212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E8FE5-5AD8-4BA0-807D-70B45C13D5E8}" type="datetimeFigureOut">
              <a:rPr lang="de-DE" smtClean="0"/>
              <a:t>08.11.2017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B5F991D-84A8-4E96-B4D0-C453BDA033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969F4A6-2DA5-4073-9557-222E432265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607A0-3BB0-4040-B86F-AAD7D609A42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0338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19481B-F764-4F68-B7E1-16FFA94D6D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37F2E21-B310-43F4-AA4A-E949146E9C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FB9BC7D-934F-4601-91AD-476B2BAABD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695548C-6E4C-47ED-BED6-D1DB65A0470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941B877-ABFD-4DF9-A241-E456DC127BB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B2D13E85-D7CC-41D7-87D6-9CFA301BB6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E8FE5-5AD8-4BA0-807D-70B45C13D5E8}" type="datetimeFigureOut">
              <a:rPr lang="de-DE" smtClean="0"/>
              <a:t>08.11.2017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C54A13F6-C365-4006-B999-61D14E4895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B5FECF6-83E7-48B9-A66B-813F9508FD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607A0-3BB0-4040-B86F-AAD7D609A42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24440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30A4C3A-B38B-46B8-B056-8C70C91EF7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F96E7C5-B591-411A-835B-0ED3B004E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E8FE5-5AD8-4BA0-807D-70B45C13D5E8}" type="datetimeFigureOut">
              <a:rPr lang="de-DE" smtClean="0"/>
              <a:t>08.11.2017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348461C-B4E0-46EB-98B8-A8A5D1A11F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B4ED19A-8A4E-4DAC-B5D5-A7974341D9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607A0-3BB0-4040-B86F-AAD7D609A42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35904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6C641BD-E6CA-4F12-8D92-5DE7EF064A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E8FE5-5AD8-4BA0-807D-70B45C13D5E8}" type="datetimeFigureOut">
              <a:rPr lang="de-DE" smtClean="0"/>
              <a:t>08.11.2017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C493335-2B53-4EC7-A8CD-5827D7795E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8A39C3A-170A-4CE3-A669-411101AA43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607A0-3BB0-4040-B86F-AAD7D609A42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474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C06F0F8-DE88-4B01-BE19-8E782D23E2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58283D4-3B28-412D-872D-76FB4DF7A6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0CF5D20-E694-4F47-9D3B-4EDC5F0511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BB456A9-A3A1-45EE-BC6C-3B882E8B27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E8FE5-5AD8-4BA0-807D-70B45C13D5E8}" type="datetimeFigureOut">
              <a:rPr lang="de-DE" smtClean="0"/>
              <a:t>08.11.2017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EDD22C-BA54-4B95-8352-AE0D5565D1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69D53A3-62AB-4DB3-ACB0-ADDE2A1EA0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607A0-3BB0-4040-B86F-AAD7D609A42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0647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E2CF09-E1A6-465E-A0CC-005E05FDD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32AC168-72FE-43E6-BCB2-CA4E7401443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4E09A6A-812F-4390-8307-92015FFD87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EF79578-1E0B-4932-B194-95F6CD20D2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E8FE5-5AD8-4BA0-807D-70B45C13D5E8}" type="datetimeFigureOut">
              <a:rPr lang="de-DE" smtClean="0"/>
              <a:t>08.11.2017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8152A23-208C-4C79-A6EA-7972F355D2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D07E479-3EB4-4936-BFED-FFE7D9CEBC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607A0-3BB0-4040-B86F-AAD7D609A42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38761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3F4577C-336C-4E36-89E8-8AB72D5E0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762E595-19A6-4EF8-BA3E-7C13EFD620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86EBBCD-5214-4663-B474-CB9D998626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8E8FE5-5AD8-4BA0-807D-70B45C13D5E8}" type="datetimeFigureOut">
              <a:rPr lang="de-DE" smtClean="0"/>
              <a:t>08.11.2017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C33F193-6B5E-4FC6-B16C-8BF8978625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14626D0-2270-4424-A9F8-BD6042A693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8607A0-3BB0-4040-B86F-AAD7D609A42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6048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9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11" y="3622"/>
          <a:ext cx="1809" cy="18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4" name="Objek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1" y="3622"/>
                        <a:ext cx="1809" cy="18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Untertitel 24"/>
          <p:cNvSpPr>
            <a:spLocks noGrp="1"/>
          </p:cNvSpPr>
          <p:nvPr>
            <p:ph type="subTitle" idx="1"/>
          </p:nvPr>
        </p:nvSpPr>
        <p:spPr>
          <a:xfrm>
            <a:off x="595341" y="5088350"/>
            <a:ext cx="8948833" cy="378886"/>
          </a:xfrm>
        </p:spPr>
        <p:txBody>
          <a:bodyPr/>
          <a:lstStyle/>
          <a:p>
            <a:r>
              <a:rPr lang="en-US" sz="2736" dirty="0">
                <a:solidFill>
                  <a:srgbClr val="707070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Eight characteristics of successful teams</a:t>
            </a:r>
          </a:p>
        </p:txBody>
      </p:sp>
      <p:sp>
        <p:nvSpPr>
          <p:cNvPr id="8" name="Textplatzhalter 25"/>
          <p:cNvSpPr>
            <a:spLocks noGrp="1"/>
          </p:cNvSpPr>
          <p:nvPr>
            <p:ph type="body" sz="quarter" idx="11"/>
          </p:nvPr>
        </p:nvSpPr>
        <p:spPr>
          <a:xfrm>
            <a:off x="656626" y="6429701"/>
            <a:ext cx="8948691" cy="328396"/>
          </a:xfrm>
        </p:spPr>
        <p:txBody>
          <a:bodyPr/>
          <a:lstStyle/>
          <a:p>
            <a:pPr lvl="0">
              <a:defRPr/>
            </a:pPr>
            <a:r>
              <a:rPr lang="de-DE"/>
              <a:t>September 2017 – </a:t>
            </a:r>
            <a:r>
              <a:rPr lang="de-DE" dirty="0"/>
              <a:t>Wolfgang Schmitt 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39723" y="5778800"/>
            <a:ext cx="1070440" cy="1077391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8066385" y="6063457"/>
            <a:ext cx="6096000" cy="58349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1596" b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              „Change </a:t>
            </a:r>
            <a:r>
              <a:rPr lang="de-DE" sz="1596" b="1" dirty="0" err="1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to</a:t>
            </a:r>
            <a:r>
              <a:rPr lang="de-DE" sz="1596" b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 </a:t>
            </a:r>
            <a:r>
              <a:rPr lang="de-DE" sz="1596" b="1" dirty="0" err="1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grow</a:t>
            </a:r>
            <a:r>
              <a:rPr lang="de-DE" sz="1596" b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"</a:t>
            </a:r>
            <a:br>
              <a:rPr lang="de-DE" sz="1596" b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</a:br>
            <a:r>
              <a:rPr lang="de-DE" sz="1596" b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 </a:t>
            </a:r>
            <a:r>
              <a:rPr lang="de-DE" sz="1596" b="1" i="1" dirty="0">
                <a:solidFill>
                  <a:srgbClr val="0B5B35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  Training  Consulting  Coaching</a:t>
            </a:r>
            <a:endParaRPr lang="de-DE" sz="1596" dirty="0">
              <a:solidFill>
                <a:srgbClr val="0B5B35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24" name="Titel 23"/>
          <p:cNvSpPr>
            <a:spLocks noGrp="1"/>
          </p:cNvSpPr>
          <p:nvPr>
            <p:ph type="ctrTitle" idx="4294967295"/>
          </p:nvPr>
        </p:nvSpPr>
        <p:spPr>
          <a:xfrm>
            <a:off x="595341" y="4382601"/>
            <a:ext cx="8948833" cy="631637"/>
          </a:xfrm>
        </p:spPr>
        <p:txBody>
          <a:bodyPr>
            <a:normAutofit fontScale="90000"/>
          </a:bodyPr>
          <a:lstStyle/>
          <a:p>
            <a:r>
              <a:rPr lang="en-US" sz="4104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Working in a great team… (2)</a:t>
            </a:r>
          </a:p>
        </p:txBody>
      </p:sp>
    </p:spTree>
    <p:extLst>
      <p:ext uri="{BB962C8B-B14F-4D97-AF65-F5344CB8AC3E}">
        <p14:creationId xmlns:p14="http://schemas.microsoft.com/office/powerpoint/2010/main" val="769010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10308122" y="6420074"/>
            <a:ext cx="1860027" cy="35061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46539" indent="-325592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02367" indent="-26047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3315" indent="-26047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344262" indent="-26047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865208" indent="-2604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386155" indent="-2604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907103" indent="-2604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428050" indent="-2604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nb-NO" altLang="de-DE" sz="1139" dirty="0"/>
              <a:t>Working in a great team..        www.changetogrow.de</a:t>
            </a:r>
            <a:endParaRPr lang="en-GB" altLang="de-DE" sz="1139" dirty="0"/>
          </a:p>
        </p:txBody>
      </p:sp>
      <p:sp>
        <p:nvSpPr>
          <p:cNvPr id="2048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1118" y="6541752"/>
            <a:ext cx="255038" cy="14036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46539" indent="-325592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02367" indent="-26047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3315" indent="-26047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344262" indent="-26047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865208" indent="-2604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386155" indent="-2604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907103" indent="-2604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428050" indent="-2604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70117AAC-2F04-4834-A76F-835076542142}" type="slidenum">
              <a:rPr lang="en-GB" altLang="de-DE"/>
              <a:pPr eaLnBrk="1" hangingPunct="1"/>
              <a:t>2</a:t>
            </a:fld>
            <a:endParaRPr lang="en-GB" altLang="de-DE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11606246" y="6650895"/>
            <a:ext cx="65" cy="22788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de-DE" sz="1481" b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91B5D69-2676-4C86-98ED-1159FC6609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8033" y="5491645"/>
            <a:ext cx="833669" cy="840616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B2ED18E8-8E30-4E2B-B520-CCE42A71D86B}"/>
              </a:ext>
            </a:extLst>
          </p:cNvPr>
          <p:cNvSpPr txBox="1"/>
          <p:nvPr/>
        </p:nvSpPr>
        <p:spPr>
          <a:xfrm>
            <a:off x="1418607" y="2545379"/>
            <a:ext cx="3036471" cy="21961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734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They</a:t>
            </a:r>
            <a:r>
              <a:rPr lang="de-DE" sz="2734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734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reject</a:t>
            </a:r>
            <a:r>
              <a:rPr lang="de-DE" sz="2734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734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conformity</a:t>
            </a:r>
            <a:r>
              <a:rPr lang="de-DE" sz="2734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– </a:t>
            </a:r>
            <a:r>
              <a:rPr lang="de-DE" sz="2734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they</a:t>
            </a:r>
            <a:r>
              <a:rPr lang="de-DE" sz="2734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734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love</a:t>
            </a:r>
            <a:r>
              <a:rPr lang="de-DE" sz="2734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different </a:t>
            </a:r>
            <a:r>
              <a:rPr lang="de-DE" sz="2734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approaches</a:t>
            </a:r>
            <a:r>
              <a:rPr lang="de-DE" sz="2734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and </a:t>
            </a:r>
            <a:r>
              <a:rPr lang="de-DE" sz="2734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attitudes</a:t>
            </a:r>
            <a:endParaRPr lang="de-DE" sz="2734" b="1" i="1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DFD3AD7-2E4A-4376-93B0-16061F9C372C}"/>
              </a:ext>
            </a:extLst>
          </p:cNvPr>
          <p:cNvSpPr txBox="1"/>
          <p:nvPr/>
        </p:nvSpPr>
        <p:spPr>
          <a:xfrm>
            <a:off x="844413" y="885263"/>
            <a:ext cx="4184859" cy="5130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734" b="1" i="1" dirty="0"/>
              <a:t>5 </a:t>
            </a:r>
            <a:r>
              <a:rPr lang="de-DE" sz="2734" b="1" i="1" dirty="0" err="1"/>
              <a:t>They</a:t>
            </a:r>
            <a:r>
              <a:rPr lang="de-DE" sz="2734" b="1" i="1" dirty="0"/>
              <a:t> </a:t>
            </a:r>
            <a:r>
              <a:rPr lang="de-DE" sz="2734" b="1" i="1" dirty="0" err="1"/>
              <a:t>embrace</a:t>
            </a:r>
            <a:r>
              <a:rPr lang="de-DE" sz="2734" b="1" i="1" dirty="0"/>
              <a:t> </a:t>
            </a:r>
            <a:r>
              <a:rPr lang="de-DE" sz="2734" b="1" i="1" dirty="0" err="1"/>
              <a:t>diversity</a:t>
            </a:r>
            <a:endParaRPr lang="de-DE" sz="1823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2F11E7E-DA6D-4C98-A8CC-5A0E3EFFF15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6420" y="605561"/>
            <a:ext cx="5216925" cy="5216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9532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10310345" y="6421546"/>
            <a:ext cx="1861010" cy="3509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47037" indent="-32578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03134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4388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345642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866895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388149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909403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430657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nb-NO" altLang="de-DE" sz="1140" dirty="0"/>
              <a:t>Working in a great team..        www.changetogrow.de</a:t>
            </a:r>
            <a:endParaRPr lang="en-GB" altLang="de-DE" sz="1140" dirty="0"/>
          </a:p>
        </p:txBody>
      </p:sp>
      <p:sp>
        <p:nvSpPr>
          <p:cNvPr id="2048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2287" y="6587400"/>
            <a:ext cx="255173" cy="9643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47037" indent="-32578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03134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4388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345642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866895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388149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909403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430657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70117AAC-2F04-4834-A76F-835076542142}" type="slidenum">
              <a:rPr lang="en-GB" altLang="de-DE"/>
              <a:pPr eaLnBrk="1" hangingPunct="1"/>
              <a:t>3</a:t>
            </a:fld>
            <a:endParaRPr lang="en-GB" altLang="de-DE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11609156" y="6652559"/>
            <a:ext cx="65" cy="22807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de-DE" sz="1482" b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91B5D69-2676-4C86-98ED-1159FC6609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80451" y="5492735"/>
            <a:ext cx="834109" cy="84106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A07AEFF4-445A-4BE4-87C4-40739A490890}"/>
              </a:ext>
            </a:extLst>
          </p:cNvPr>
          <p:cNvSpPr txBox="1"/>
          <p:nvPr/>
        </p:nvSpPr>
        <p:spPr>
          <a:xfrm>
            <a:off x="841639" y="2690106"/>
            <a:ext cx="3038074" cy="3039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736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They</a:t>
            </a:r>
            <a:r>
              <a:rPr lang="de-DE" sz="2736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736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evolve</a:t>
            </a:r>
            <a:r>
              <a:rPr lang="de-DE" sz="2736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736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beyond</a:t>
            </a:r>
            <a:r>
              <a:rPr lang="de-DE" sz="2736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736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their</a:t>
            </a:r>
            <a:r>
              <a:rPr lang="de-DE" sz="2736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original </a:t>
            </a:r>
            <a:r>
              <a:rPr lang="de-DE" sz="2736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scope</a:t>
            </a:r>
            <a:r>
              <a:rPr lang="de-DE" sz="2736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– </a:t>
            </a:r>
            <a:r>
              <a:rPr lang="de-DE" sz="2736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they</a:t>
            </a:r>
            <a:r>
              <a:rPr lang="de-DE" sz="2736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736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apply</a:t>
            </a:r>
            <a:r>
              <a:rPr lang="de-DE" sz="2736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736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immediately</a:t>
            </a:r>
            <a:r>
              <a:rPr lang="de-DE" sz="2736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736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whatever</a:t>
            </a:r>
            <a:r>
              <a:rPr lang="de-DE" sz="2736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736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they</a:t>
            </a:r>
            <a:r>
              <a:rPr lang="de-DE" sz="2736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736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learn</a:t>
            </a:r>
            <a:r>
              <a:rPr lang="de-DE" sz="2736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out </a:t>
            </a:r>
            <a:r>
              <a:rPr lang="de-DE" sz="2736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of</a:t>
            </a:r>
            <a:r>
              <a:rPr lang="de-DE" sz="2736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736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the</a:t>
            </a:r>
            <a:r>
              <a:rPr lang="de-DE" sz="2736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  <a:r>
              <a:rPr lang="de-DE" sz="2736" b="1" i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process</a:t>
            </a:r>
            <a:r>
              <a:rPr lang="de-DE" sz="2736" b="1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!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B55870A-6CFF-4589-BA52-CB883828893D}"/>
              </a:ext>
            </a:extLst>
          </p:cNvPr>
          <p:cNvSpPr txBox="1"/>
          <p:nvPr/>
        </p:nvSpPr>
        <p:spPr>
          <a:xfrm>
            <a:off x="349043" y="1167205"/>
            <a:ext cx="4187069" cy="9343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736" b="1" i="1" dirty="0"/>
              <a:t>6 </a:t>
            </a:r>
            <a:r>
              <a:rPr lang="de-DE" sz="2736" b="1" i="1" dirty="0" err="1"/>
              <a:t>They</a:t>
            </a:r>
            <a:r>
              <a:rPr lang="de-DE" sz="2736" b="1" i="1" dirty="0"/>
              <a:t> </a:t>
            </a:r>
            <a:r>
              <a:rPr lang="de-DE" sz="2736" b="1" i="1" dirty="0" err="1"/>
              <a:t>apply</a:t>
            </a:r>
            <a:r>
              <a:rPr lang="de-DE" sz="2736" b="1" i="1" dirty="0"/>
              <a:t> </a:t>
            </a:r>
            <a:r>
              <a:rPr lang="de-DE" sz="2736" b="1" i="1" dirty="0" err="1"/>
              <a:t>unexpected</a:t>
            </a:r>
            <a:r>
              <a:rPr lang="de-DE" sz="2736" b="1" i="1" dirty="0"/>
              <a:t> </a:t>
            </a:r>
            <a:r>
              <a:rPr lang="de-DE" sz="2736" b="1" i="1" dirty="0" err="1"/>
              <a:t>learning</a:t>
            </a:r>
            <a:endParaRPr lang="de-DE" sz="1824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0F07961-BE83-436E-8E79-402FA7463E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2798" y="1167204"/>
            <a:ext cx="6499036" cy="3903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6662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10310345" y="6421546"/>
            <a:ext cx="1861010" cy="3509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47037" indent="-32578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03134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4388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345642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866895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388149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909403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430657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nb-NO" altLang="de-DE" sz="1140" dirty="0"/>
              <a:t>Working in a great team..        www.changetogrow.de</a:t>
            </a:r>
            <a:endParaRPr lang="en-GB" altLang="de-DE" sz="1140" dirty="0"/>
          </a:p>
        </p:txBody>
      </p:sp>
      <p:sp>
        <p:nvSpPr>
          <p:cNvPr id="2048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2287" y="6587400"/>
            <a:ext cx="255173" cy="9643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47037" indent="-32578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03134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4388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345642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866895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388149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909403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430657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70117AAC-2F04-4834-A76F-835076542142}" type="slidenum">
              <a:rPr lang="en-GB" altLang="de-DE"/>
              <a:pPr eaLnBrk="1" hangingPunct="1"/>
              <a:t>4</a:t>
            </a:fld>
            <a:endParaRPr lang="en-GB" altLang="de-DE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11609156" y="6652559"/>
            <a:ext cx="65" cy="22807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de-DE" sz="1482" b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91B5D69-2676-4C86-98ED-1159FC6609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80451" y="5492735"/>
            <a:ext cx="834109" cy="841060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46374513-F1BA-4C81-BEE3-80BD18E18B59}"/>
              </a:ext>
            </a:extLst>
          </p:cNvPr>
          <p:cNvSpPr txBox="1"/>
          <p:nvPr/>
        </p:nvSpPr>
        <p:spPr>
          <a:xfrm>
            <a:off x="8085872" y="3511099"/>
            <a:ext cx="3038074" cy="1355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736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They</a:t>
            </a:r>
            <a:r>
              <a:rPr lang="de-DE" sz="2736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736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have</a:t>
            </a:r>
            <a:r>
              <a:rPr lang="de-DE" sz="2736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736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common</a:t>
            </a:r>
            <a:r>
              <a:rPr lang="de-DE" sz="2736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736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values</a:t>
            </a:r>
            <a:r>
              <a:rPr lang="de-DE" sz="2736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 and a </a:t>
            </a:r>
            <a:r>
              <a:rPr lang="de-DE" sz="2736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shared</a:t>
            </a:r>
            <a:r>
              <a:rPr lang="de-DE" sz="2736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736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vision</a:t>
            </a:r>
            <a:r>
              <a:rPr lang="de-DE" sz="2736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!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9832DF6-C199-4C37-BD50-54CD452214FB}"/>
              </a:ext>
            </a:extLst>
          </p:cNvPr>
          <p:cNvSpPr txBox="1"/>
          <p:nvPr/>
        </p:nvSpPr>
        <p:spPr>
          <a:xfrm>
            <a:off x="7820087" y="719720"/>
            <a:ext cx="4187069" cy="12150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736" b="1" i="1" dirty="0"/>
              <a:t>7 </a:t>
            </a:r>
            <a:r>
              <a:rPr lang="de-DE" sz="2736" b="1" i="1" dirty="0" err="1"/>
              <a:t>They</a:t>
            </a:r>
            <a:r>
              <a:rPr lang="de-DE" sz="2736" b="1" i="1" dirty="0"/>
              <a:t> </a:t>
            </a:r>
            <a:r>
              <a:rPr lang="de-DE" sz="2736" b="1" i="1" dirty="0" err="1"/>
              <a:t>strengthen</a:t>
            </a:r>
            <a:r>
              <a:rPr lang="de-DE" sz="2736" b="1" i="1" dirty="0"/>
              <a:t> </a:t>
            </a:r>
            <a:r>
              <a:rPr lang="de-DE" sz="2736" b="1" i="1" dirty="0" err="1"/>
              <a:t>team</a:t>
            </a:r>
            <a:r>
              <a:rPr lang="de-DE" sz="2736" b="1" i="1" dirty="0"/>
              <a:t> </a:t>
            </a:r>
            <a:r>
              <a:rPr lang="de-DE" sz="2736" b="1" i="1" dirty="0" err="1"/>
              <a:t>member</a:t>
            </a:r>
            <a:r>
              <a:rPr lang="de-DE" sz="2736" b="1" i="1" dirty="0"/>
              <a:t> </a:t>
            </a:r>
            <a:r>
              <a:rPr lang="de-DE" sz="2736" b="1" i="1" dirty="0" err="1"/>
              <a:t>relationships</a:t>
            </a:r>
            <a:endParaRPr lang="de-DE" sz="2736" b="1" i="1" dirty="0"/>
          </a:p>
          <a:p>
            <a:pPr algn="ctr"/>
            <a:endParaRPr lang="de-DE" sz="1824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BAC2937-7486-4820-9B56-6511BA4BE8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944" y="801820"/>
            <a:ext cx="7480619" cy="4987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7671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10310345" y="6421546"/>
            <a:ext cx="1861010" cy="3509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47037" indent="-32578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03134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4388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345642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866895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388149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909403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430657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nb-NO" altLang="de-DE" sz="1140" dirty="0"/>
              <a:t>Working in a great team..        www.changetogrow.de</a:t>
            </a:r>
            <a:endParaRPr lang="en-GB" altLang="de-DE" sz="1140" dirty="0"/>
          </a:p>
        </p:txBody>
      </p:sp>
      <p:sp>
        <p:nvSpPr>
          <p:cNvPr id="2048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2287" y="6587400"/>
            <a:ext cx="255173" cy="9643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47037" indent="-32578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03134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4388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345642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866895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388149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909403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430657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70117AAC-2F04-4834-A76F-835076542142}" type="slidenum">
              <a:rPr lang="en-GB" altLang="de-DE"/>
              <a:pPr eaLnBrk="1" hangingPunct="1"/>
              <a:t>5</a:t>
            </a:fld>
            <a:endParaRPr lang="en-GB" altLang="de-DE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11609156" y="6652559"/>
            <a:ext cx="65" cy="22807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de-DE" sz="1482" b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91B5D69-2676-4C86-98ED-1159FC6609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80451" y="5492735"/>
            <a:ext cx="834109" cy="84106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B2D05C7A-370E-4F54-B27F-538376B286D4}"/>
              </a:ext>
            </a:extLst>
          </p:cNvPr>
          <p:cNvSpPr txBox="1"/>
          <p:nvPr/>
        </p:nvSpPr>
        <p:spPr>
          <a:xfrm>
            <a:off x="1087938" y="2936404"/>
            <a:ext cx="3038074" cy="1355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736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Their</a:t>
            </a:r>
            <a:r>
              <a:rPr lang="de-DE" sz="2736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736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measured</a:t>
            </a:r>
            <a:r>
              <a:rPr lang="de-DE" sz="2736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736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results</a:t>
            </a:r>
            <a:r>
              <a:rPr lang="de-DE" sz="2736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736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exceed</a:t>
            </a:r>
            <a:r>
              <a:rPr lang="de-DE" sz="2736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736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expectations</a:t>
            </a:r>
            <a:r>
              <a:rPr lang="de-DE" sz="2736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!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30E8F97-98E1-4C51-BCFF-BBE243A0CE08}"/>
              </a:ext>
            </a:extLst>
          </p:cNvPr>
          <p:cNvSpPr txBox="1"/>
          <p:nvPr/>
        </p:nvSpPr>
        <p:spPr>
          <a:xfrm>
            <a:off x="677441" y="733423"/>
            <a:ext cx="4187069" cy="5133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736" b="1" i="1" dirty="0"/>
              <a:t>8 </a:t>
            </a:r>
            <a:r>
              <a:rPr lang="de-DE" sz="2736" b="1" i="1" dirty="0" err="1"/>
              <a:t>They</a:t>
            </a:r>
            <a:r>
              <a:rPr lang="de-DE" sz="2736" b="1" i="1" dirty="0"/>
              <a:t> </a:t>
            </a:r>
            <a:r>
              <a:rPr lang="de-DE" sz="2736" b="1" i="1" dirty="0" err="1"/>
              <a:t>have</a:t>
            </a:r>
            <a:r>
              <a:rPr lang="de-DE" sz="2736" b="1" i="1" dirty="0"/>
              <a:t> </a:t>
            </a:r>
            <a:r>
              <a:rPr lang="de-DE" sz="2736" b="1" i="1" dirty="0" err="1"/>
              <a:t>great</a:t>
            </a:r>
            <a:r>
              <a:rPr lang="de-DE" sz="2736" b="1" i="1" dirty="0"/>
              <a:t> </a:t>
            </a:r>
            <a:r>
              <a:rPr lang="de-DE" sz="2736" b="1" i="1" dirty="0" err="1"/>
              <a:t>results</a:t>
            </a:r>
            <a:endParaRPr lang="de-DE" sz="1824" b="1" i="1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A7C02BC-757E-4367-907A-C37E6F34371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2410" y="801820"/>
            <a:ext cx="6610780" cy="4412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1265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10310345" y="6421546"/>
            <a:ext cx="1861010" cy="35091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47037" indent="-32578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03134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4388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345642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866895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388149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909403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430657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nb-NO" altLang="de-DE" sz="1140" dirty="0"/>
              <a:t>Working in a great team..        www.changetogrow.de</a:t>
            </a:r>
            <a:endParaRPr lang="en-GB" altLang="de-DE" sz="1140" dirty="0"/>
          </a:p>
        </p:txBody>
      </p:sp>
      <p:sp>
        <p:nvSpPr>
          <p:cNvPr id="20483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8312287" y="6587400"/>
            <a:ext cx="255173" cy="9643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847037" indent="-325784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303134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824388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345642" indent="-260627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866895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388149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909403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430657" indent="-2606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70117AAC-2F04-4834-A76F-835076542142}" type="slidenum">
              <a:rPr lang="en-GB" altLang="de-DE"/>
              <a:pPr eaLnBrk="1" hangingPunct="1"/>
              <a:t>6</a:t>
            </a:fld>
            <a:endParaRPr lang="en-GB" altLang="de-DE"/>
          </a:p>
        </p:txBody>
      </p:sp>
      <p:sp>
        <p:nvSpPr>
          <p:cNvPr id="20484" name="Rectangle 3"/>
          <p:cNvSpPr>
            <a:spLocks noChangeArrowheads="1"/>
          </p:cNvSpPr>
          <p:nvPr/>
        </p:nvSpPr>
        <p:spPr bwMode="auto">
          <a:xfrm>
            <a:off x="11609156" y="6652559"/>
            <a:ext cx="65" cy="22807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de-DE" sz="1482" b="1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91B5D69-2676-4C86-98ED-1159FC6609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80451" y="5492735"/>
            <a:ext cx="834109" cy="841060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61A03F1A-4F58-4943-82A3-F4846297865C}"/>
              </a:ext>
            </a:extLst>
          </p:cNvPr>
          <p:cNvSpPr txBox="1"/>
          <p:nvPr/>
        </p:nvSpPr>
        <p:spPr>
          <a:xfrm>
            <a:off x="8348853" y="4330836"/>
            <a:ext cx="3038074" cy="9343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736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A </a:t>
            </a:r>
            <a:r>
              <a:rPr lang="de-DE" sz="2736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kind</a:t>
            </a:r>
            <a:r>
              <a:rPr lang="de-DE" sz="2736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736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of</a:t>
            </a:r>
            <a:r>
              <a:rPr lang="de-DE" sz="2736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 </a:t>
            </a:r>
            <a:r>
              <a:rPr lang="de-DE" sz="2736" b="1" i="1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summary</a:t>
            </a:r>
            <a:r>
              <a:rPr lang="de-DE" sz="2736" b="1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…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17FC1B1-4406-4E5D-954F-48525072574A}"/>
              </a:ext>
            </a:extLst>
          </p:cNvPr>
          <p:cNvSpPr txBox="1"/>
          <p:nvPr/>
        </p:nvSpPr>
        <p:spPr>
          <a:xfrm>
            <a:off x="1087937" y="555522"/>
            <a:ext cx="6978448" cy="47234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736" b="1" i="1" dirty="0"/>
              <a:t>Great </a:t>
            </a:r>
            <a:r>
              <a:rPr lang="de-DE" sz="2736" b="1" i="1" dirty="0" err="1"/>
              <a:t>teams</a:t>
            </a:r>
            <a:r>
              <a:rPr lang="de-DE" sz="2736" b="1" i="1" dirty="0"/>
              <a:t> do not </a:t>
            </a:r>
            <a:r>
              <a:rPr lang="de-DE" sz="2736" b="1" i="1" dirty="0" err="1"/>
              <a:t>occur</a:t>
            </a:r>
            <a:r>
              <a:rPr lang="de-DE" sz="2736" b="1" i="1" dirty="0"/>
              <a:t> </a:t>
            </a:r>
            <a:r>
              <a:rPr lang="de-DE" sz="2736" b="1" i="1" dirty="0" err="1"/>
              <a:t>naturally</a:t>
            </a:r>
            <a:r>
              <a:rPr lang="de-DE" sz="2736" b="1" i="1" dirty="0"/>
              <a:t> </a:t>
            </a:r>
            <a:r>
              <a:rPr lang="de-DE" sz="2736" b="1" i="1" dirty="0" err="1"/>
              <a:t>or</a:t>
            </a:r>
            <a:r>
              <a:rPr lang="de-DE" sz="2736" b="1" i="1" dirty="0"/>
              <a:t> all </a:t>
            </a:r>
            <a:r>
              <a:rPr lang="de-DE" sz="2736" b="1" i="1" dirty="0" err="1"/>
              <a:t>of</a:t>
            </a:r>
            <a:r>
              <a:rPr lang="de-DE" sz="2736" b="1" i="1" dirty="0"/>
              <a:t> a </a:t>
            </a:r>
            <a:r>
              <a:rPr lang="de-DE" sz="2736" b="1" i="1" dirty="0" err="1"/>
              <a:t>sudden</a:t>
            </a:r>
            <a:r>
              <a:rPr lang="de-DE" sz="2736" b="1" i="1" dirty="0"/>
              <a:t>! </a:t>
            </a:r>
          </a:p>
          <a:p>
            <a:pPr algn="ctr"/>
            <a:endParaRPr lang="de-DE" sz="2736" b="1" i="1" dirty="0"/>
          </a:p>
          <a:p>
            <a:pPr algn="ctr"/>
            <a:r>
              <a:rPr lang="de-DE" sz="2736" b="1" i="1" dirty="0"/>
              <a:t>Great </a:t>
            </a:r>
            <a:r>
              <a:rPr lang="de-DE" sz="2736" b="1" i="1" dirty="0" err="1"/>
              <a:t>teams</a:t>
            </a:r>
            <a:r>
              <a:rPr lang="de-DE" sz="2736" b="1" i="1" dirty="0"/>
              <a:t> </a:t>
            </a:r>
            <a:r>
              <a:rPr lang="de-DE" sz="2736" b="1" i="1" dirty="0" err="1"/>
              <a:t>require</a:t>
            </a:r>
            <a:r>
              <a:rPr lang="de-DE" sz="2736" b="1" i="1" dirty="0"/>
              <a:t> </a:t>
            </a:r>
            <a:r>
              <a:rPr lang="de-DE" sz="2736" b="1" i="1" dirty="0" err="1"/>
              <a:t>team</a:t>
            </a:r>
            <a:r>
              <a:rPr lang="de-DE" sz="2736" b="1" i="1" dirty="0"/>
              <a:t> </a:t>
            </a:r>
            <a:r>
              <a:rPr lang="de-DE" sz="2736" b="1" i="1" dirty="0" err="1"/>
              <a:t>members</a:t>
            </a:r>
            <a:r>
              <a:rPr lang="de-DE" sz="2736" b="1" i="1" dirty="0"/>
              <a:t> </a:t>
            </a:r>
            <a:r>
              <a:rPr lang="de-DE" sz="2736" b="1" i="1" dirty="0" err="1"/>
              <a:t>who</a:t>
            </a:r>
            <a:r>
              <a:rPr lang="de-DE" sz="2736" b="1" i="1" dirty="0"/>
              <a:t> </a:t>
            </a:r>
            <a:r>
              <a:rPr lang="de-DE" sz="2736" b="1" i="1" dirty="0" err="1"/>
              <a:t>have</a:t>
            </a:r>
            <a:r>
              <a:rPr lang="de-DE" sz="2736" b="1" i="1" dirty="0"/>
              <a:t> </a:t>
            </a:r>
            <a:r>
              <a:rPr lang="de-DE" sz="2736" b="1" i="1" dirty="0" err="1"/>
              <a:t>technical</a:t>
            </a:r>
            <a:r>
              <a:rPr lang="de-DE" sz="2736" b="1" i="1" dirty="0"/>
              <a:t>, interpersonal, </a:t>
            </a:r>
            <a:r>
              <a:rPr lang="de-DE" sz="2736" b="1" i="1" dirty="0" err="1"/>
              <a:t>communicational</a:t>
            </a:r>
            <a:r>
              <a:rPr lang="de-DE" sz="2736" b="1" i="1" dirty="0"/>
              <a:t> and emotional </a:t>
            </a:r>
            <a:r>
              <a:rPr lang="de-DE" sz="2736" b="1" i="1" dirty="0" err="1"/>
              <a:t>intelligence</a:t>
            </a:r>
            <a:r>
              <a:rPr lang="de-DE" sz="2736" b="1" i="1" dirty="0"/>
              <a:t> </a:t>
            </a:r>
            <a:r>
              <a:rPr lang="de-DE" sz="2736" b="1" i="1" dirty="0" err="1"/>
              <a:t>skills</a:t>
            </a:r>
            <a:r>
              <a:rPr lang="de-DE" sz="2736" b="1" i="1" dirty="0"/>
              <a:t>. </a:t>
            </a:r>
          </a:p>
          <a:p>
            <a:pPr algn="ctr"/>
            <a:endParaRPr lang="de-DE" sz="2736" b="1" i="1" dirty="0"/>
          </a:p>
          <a:p>
            <a:pPr algn="ctr"/>
            <a:r>
              <a:rPr lang="de-DE" sz="2736" b="1" i="1" dirty="0"/>
              <a:t>Great </a:t>
            </a:r>
            <a:r>
              <a:rPr lang="de-DE" sz="2736" b="1" i="1" dirty="0" err="1"/>
              <a:t>teams</a:t>
            </a:r>
            <a:r>
              <a:rPr lang="de-DE" sz="2736" b="1" i="1" dirty="0"/>
              <a:t> </a:t>
            </a:r>
            <a:r>
              <a:rPr lang="de-DE" sz="2736" b="1" i="1" dirty="0" err="1"/>
              <a:t>require</a:t>
            </a:r>
            <a:r>
              <a:rPr lang="de-DE" sz="2736" b="1" i="1" dirty="0"/>
              <a:t> </a:t>
            </a:r>
            <a:r>
              <a:rPr lang="de-DE" sz="2736" b="1" i="1" dirty="0" err="1"/>
              <a:t>senior</a:t>
            </a:r>
            <a:r>
              <a:rPr lang="de-DE" sz="2736" b="1" i="1" dirty="0"/>
              <a:t> </a:t>
            </a:r>
            <a:r>
              <a:rPr lang="de-DE" sz="2736" b="1" i="1" dirty="0" err="1"/>
              <a:t>leadership</a:t>
            </a:r>
            <a:r>
              <a:rPr lang="de-DE" sz="2736" b="1" i="1" dirty="0"/>
              <a:t> </a:t>
            </a:r>
            <a:r>
              <a:rPr lang="de-DE" sz="2736" b="1" i="1" dirty="0" err="1"/>
              <a:t>efforts</a:t>
            </a:r>
            <a:r>
              <a:rPr lang="de-DE" sz="2736" b="1" i="1" dirty="0"/>
              <a:t> </a:t>
            </a:r>
            <a:r>
              <a:rPr lang="de-DE" sz="2736" b="1" i="1" dirty="0" err="1"/>
              <a:t>that</a:t>
            </a:r>
            <a:r>
              <a:rPr lang="de-DE" sz="2736" b="1" i="1" dirty="0"/>
              <a:t> </a:t>
            </a:r>
            <a:r>
              <a:rPr lang="de-DE" sz="2736" b="1" i="1" dirty="0" err="1"/>
              <a:t>create</a:t>
            </a:r>
            <a:r>
              <a:rPr lang="de-DE" sz="2736" b="1" i="1" dirty="0"/>
              <a:t> an </a:t>
            </a:r>
            <a:r>
              <a:rPr lang="de-DE" sz="2736" b="1" i="1" dirty="0" err="1"/>
              <a:t>environment</a:t>
            </a:r>
            <a:r>
              <a:rPr lang="de-DE" sz="2736" b="1" i="1" dirty="0"/>
              <a:t> </a:t>
            </a:r>
            <a:r>
              <a:rPr lang="de-DE" sz="2736" b="1" i="1" dirty="0" err="1"/>
              <a:t>where</a:t>
            </a:r>
            <a:r>
              <a:rPr lang="de-DE" sz="2736" b="1" i="1" dirty="0"/>
              <a:t> (A) </a:t>
            </a:r>
            <a:r>
              <a:rPr lang="de-DE" sz="2736" b="1" i="1" dirty="0" err="1"/>
              <a:t>teamwork</a:t>
            </a:r>
            <a:r>
              <a:rPr lang="de-DE" sz="2736" b="1" i="1" dirty="0"/>
              <a:t> </a:t>
            </a:r>
            <a:r>
              <a:rPr lang="de-DE" sz="2736" b="1" i="1" dirty="0" err="1"/>
              <a:t>is</a:t>
            </a:r>
            <a:r>
              <a:rPr lang="de-DE" sz="2736" b="1" i="1" dirty="0"/>
              <a:t> </a:t>
            </a:r>
            <a:r>
              <a:rPr lang="de-DE" sz="2736" b="1" i="1" dirty="0" err="1"/>
              <a:t>rewarded</a:t>
            </a:r>
            <a:r>
              <a:rPr lang="de-DE" sz="2736" b="1" i="1" dirty="0"/>
              <a:t> and (B) </a:t>
            </a:r>
            <a:r>
              <a:rPr lang="de-DE" sz="2736" b="1" i="1" dirty="0" err="1"/>
              <a:t>destructive</a:t>
            </a:r>
            <a:r>
              <a:rPr lang="de-DE" sz="2736" b="1" i="1" dirty="0"/>
              <a:t> </a:t>
            </a:r>
            <a:r>
              <a:rPr lang="de-DE" sz="2736" b="1" i="1" dirty="0" err="1"/>
              <a:t>team</a:t>
            </a:r>
            <a:r>
              <a:rPr lang="de-DE" sz="2736" b="1" i="1" dirty="0"/>
              <a:t> </a:t>
            </a:r>
            <a:r>
              <a:rPr lang="de-DE" sz="2736" b="1" i="1" dirty="0" err="1"/>
              <a:t>behaviour</a:t>
            </a:r>
            <a:r>
              <a:rPr lang="de-DE" sz="2736" b="1" i="1" dirty="0"/>
              <a:t> </a:t>
            </a:r>
            <a:r>
              <a:rPr lang="de-DE" sz="2736" b="1" i="1" dirty="0" err="1"/>
              <a:t>is</a:t>
            </a:r>
            <a:r>
              <a:rPr lang="de-DE" sz="2736" b="1" i="1" dirty="0"/>
              <a:t> </a:t>
            </a:r>
            <a:r>
              <a:rPr lang="de-DE" sz="2736" b="1" i="1" dirty="0" err="1"/>
              <a:t>corrected</a:t>
            </a:r>
            <a:r>
              <a:rPr lang="de-DE" sz="2736" b="1" i="1" dirty="0"/>
              <a:t>.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97B39FC9-5372-4E50-9E8E-65C35735942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2014" y="344840"/>
            <a:ext cx="1748437" cy="3757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1359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VocYiWb0yOQO9OMhjJ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4</Words>
  <Application>Microsoft Office PowerPoint</Application>
  <PresentationFormat>Breitbild</PresentationFormat>
  <Paragraphs>33</Paragraphs>
  <Slides>6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2" baseType="lpstr">
      <vt:lpstr>Arial</vt:lpstr>
      <vt:lpstr>Calibri</vt:lpstr>
      <vt:lpstr>Calibri Light</vt:lpstr>
      <vt:lpstr>Roboto Condensed</vt:lpstr>
      <vt:lpstr>Office</vt:lpstr>
      <vt:lpstr>think-cell Folie</vt:lpstr>
      <vt:lpstr>Working in a great team… (2)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rking in a great team… (2)</dc:title>
  <dc:creator>Wolfgang Philipp Schmitt</dc:creator>
  <cp:lastModifiedBy>Wolfgang Philipp Schmitt</cp:lastModifiedBy>
  <cp:revision>9</cp:revision>
  <dcterms:created xsi:type="dcterms:W3CDTF">2017-11-08T09:31:51Z</dcterms:created>
  <dcterms:modified xsi:type="dcterms:W3CDTF">2017-11-08T16:57:11Z</dcterms:modified>
</cp:coreProperties>
</file>